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422555-12BE-EF99-1A01-4A6DE5F5F5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D0DFA7-4AE9-C5BF-E6EC-A4527EAB26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748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3.svg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B75A98-AB74-E820-2D40-052A44D736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B80D27-A804-49CE-FC4D-14A454260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505A619C-E694-5314-30BF-F77336517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4998" y="3330138"/>
            <a:ext cx="1116000" cy="48474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216000" marR="0" lvl="0" indent="-17624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charset="0"/>
              </a:rPr>
              <a:t>a</a:t>
            </a:r>
          </a:p>
          <a:p>
            <a:pPr marL="144000" lvl="1" indent="-144000" fontAlgn="base">
              <a:spcBef>
                <a:spcPct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Graphik" panose="020B0503030202060203" pitchFamily="34" charset="0"/>
                <a:cs typeface="Arial" charset="0"/>
              </a:rPr>
              <a:t>Investimentos</a:t>
            </a:r>
          </a:p>
          <a:p>
            <a:pPr marL="144000" lvl="1" indent="-144000" fontAlgn="base">
              <a:spcBef>
                <a:spcPct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Graphik" panose="020B0503030202060203" pitchFamily="34" charset="0"/>
                <a:cs typeface="Arial" charset="0"/>
              </a:rPr>
              <a:t>Pagamento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481E2-2CEB-23F6-558C-872A4936D3E5}"/>
              </a:ext>
            </a:extLst>
          </p:cNvPr>
          <p:cNvGrpSpPr/>
          <p:nvPr/>
        </p:nvGrpSpPr>
        <p:grpSpPr>
          <a:xfrm>
            <a:off x="6555806" y="1638837"/>
            <a:ext cx="5255194" cy="268180"/>
            <a:chOff x="380999" y="1993581"/>
            <a:chExt cx="7092000" cy="32449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592D34B-FB10-2453-0EA8-F7964D85C8FE}"/>
                </a:ext>
              </a:extLst>
            </p:cNvPr>
            <p:cNvCxnSpPr>
              <a:cxnSpLocks/>
            </p:cNvCxnSpPr>
            <p:nvPr/>
          </p:nvCxnSpPr>
          <p:spPr>
            <a:xfrm>
              <a:off x="380999" y="2318079"/>
              <a:ext cx="7092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D02F7C8-14F5-C89F-4F11-ABCF6171B0D6}"/>
                </a:ext>
              </a:extLst>
            </p:cNvPr>
            <p:cNvSpPr txBox="1"/>
            <p:nvPr/>
          </p:nvSpPr>
          <p:spPr>
            <a:xfrm>
              <a:off x="380999" y="1993581"/>
              <a:ext cx="7092000" cy="293721"/>
            </a:xfrm>
            <a:prstGeom prst="rect">
              <a:avLst/>
            </a:prstGeom>
            <a:noFill/>
          </p:spPr>
          <p:txBody>
            <a:bodyPr wrap="square" lIns="0" tIns="0" rIns="0" bIns="108000" rtlCol="0" anchor="t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pt-BR" sz="1200" dirty="0">
                  <a:latin typeface="+mj-lt"/>
                </a:rPr>
                <a:t>Responsabilidad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26456F1-22DA-11D6-D13D-F9534AB5572F}"/>
              </a:ext>
            </a:extLst>
          </p:cNvPr>
          <p:cNvGrpSpPr/>
          <p:nvPr/>
        </p:nvGrpSpPr>
        <p:grpSpPr>
          <a:xfrm>
            <a:off x="3769428" y="2085091"/>
            <a:ext cx="2551570" cy="211219"/>
            <a:chOff x="3671721" y="2115571"/>
            <a:chExt cx="2551570" cy="2112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A5D1589-C290-EC4A-4330-56A63A442AD5}"/>
                </a:ext>
              </a:extLst>
            </p:cNvPr>
            <p:cNvGrpSpPr/>
            <p:nvPr/>
          </p:nvGrpSpPr>
          <p:grpSpPr>
            <a:xfrm>
              <a:off x="3671721" y="2115571"/>
              <a:ext cx="684064" cy="211219"/>
              <a:chOff x="5801723" y="6459944"/>
              <a:chExt cx="684064" cy="211219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86D8606E-20F8-03B9-9506-939F93AB7DF9}"/>
                  </a:ext>
                </a:extLst>
              </p:cNvPr>
              <p:cNvSpPr/>
              <p:nvPr/>
            </p:nvSpPr>
            <p:spPr bwMode="gray">
              <a:xfrm>
                <a:off x="5801723" y="6490098"/>
                <a:ext cx="150954" cy="150954"/>
              </a:xfrm>
              <a:prstGeom prst="ellipse">
                <a:avLst/>
              </a:prstGeom>
              <a:solidFill>
                <a:srgbClr val="E82717"/>
              </a:solidFill>
              <a:ln w="6350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72017" tIns="72017" rIns="72017" bIns="72017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58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pitchFamily="34" charset="0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3CCAEF0-3060-DD19-1EA3-F7153860B178}"/>
                  </a:ext>
                </a:extLst>
              </p:cNvPr>
              <p:cNvGrpSpPr/>
              <p:nvPr/>
            </p:nvGrpSpPr>
            <p:grpSpPr>
              <a:xfrm>
                <a:off x="5801723" y="6459944"/>
                <a:ext cx="684064" cy="211219"/>
                <a:chOff x="5801723" y="6459944"/>
                <a:chExt cx="684064" cy="211219"/>
              </a:xfrm>
            </p:grpSpPr>
            <p:sp>
              <p:nvSpPr>
                <p:cNvPr id="19" name="Arc 18">
                  <a:extLst>
                    <a:ext uri="{FF2B5EF4-FFF2-40B4-BE49-F238E27FC236}">
                      <a16:creationId xmlns:a16="http://schemas.microsoft.com/office/drawing/2014/main" id="{405F7D10-BEC4-245D-0EBA-49DC8F876797}"/>
                    </a:ext>
                  </a:extLst>
                </p:cNvPr>
                <p:cNvSpPr/>
                <p:nvPr/>
              </p:nvSpPr>
              <p:spPr>
                <a:xfrm>
                  <a:off x="5801723" y="6490098"/>
                  <a:ext cx="150954" cy="150954"/>
                </a:xfrm>
                <a:prstGeom prst="arc">
                  <a:avLst>
                    <a:gd name="adj1" fmla="val 16200000"/>
                    <a:gd name="adj2" fmla="val 16200000"/>
                  </a:avLst>
                </a:prstGeom>
                <a:solidFill>
                  <a:schemeClr val="tx1"/>
                </a:solidFill>
                <a:ln w="6350" cap="flat" cmpd="sng" algn="ctr">
                  <a:solidFill>
                    <a:srgbClr val="000000"/>
                  </a:solidFill>
                  <a:prstDash val="solid"/>
                  <a:headEnd type="none"/>
                  <a:tailEnd type="none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raphik" panose="020B050303020206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5C3FBE85-4A68-29F6-2530-B6216E90B3D6}"/>
                    </a:ext>
                  </a:extLst>
                </p:cNvPr>
                <p:cNvSpPr txBox="1"/>
                <p:nvPr/>
              </p:nvSpPr>
              <p:spPr>
                <a:xfrm>
                  <a:off x="5986669" y="6459944"/>
                  <a:ext cx="499118" cy="211219"/>
                </a:xfrm>
                <a:prstGeom prst="rect">
                  <a:avLst/>
                </a:prstGeom>
                <a:noFill/>
              </p:spPr>
              <p:txBody>
                <a:bodyPr wrap="none" lIns="36008" tIns="36008" rIns="36008" bIns="36008" rtlCol="0" anchor="ctr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raphik" panose="020B0503030202060203" pitchFamily="34" charset="0"/>
                      <a:ea typeface="+mn-ea"/>
                      <a:cs typeface="Arial" charset="0"/>
                    </a:rPr>
                    <a:t>Integral</a:t>
                  </a:r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F1345BD-9C66-4EDE-AE7F-6D3D5DD0714A}"/>
                </a:ext>
              </a:extLst>
            </p:cNvPr>
            <p:cNvGrpSpPr/>
            <p:nvPr/>
          </p:nvGrpSpPr>
          <p:grpSpPr>
            <a:xfrm>
              <a:off x="4482716" y="2115571"/>
              <a:ext cx="614118" cy="211219"/>
              <a:chOff x="6794257" y="6459944"/>
              <a:chExt cx="614118" cy="21121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40CA39A-BB1D-8D4B-BBD9-C15D21193E89}"/>
                  </a:ext>
                </a:extLst>
              </p:cNvPr>
              <p:cNvSpPr/>
              <p:nvPr/>
            </p:nvSpPr>
            <p:spPr bwMode="gray">
              <a:xfrm>
                <a:off x="6794257" y="6490098"/>
                <a:ext cx="150954" cy="150954"/>
              </a:xfrm>
              <a:prstGeom prst="ellipse">
                <a:avLst/>
              </a:prstGeom>
              <a:solidFill>
                <a:srgbClr val="FFFFFF"/>
              </a:solidFill>
              <a:ln w="6350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72017" tIns="72017" rIns="72017" bIns="72017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58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" name="Arc 14">
                <a:extLst>
                  <a:ext uri="{FF2B5EF4-FFF2-40B4-BE49-F238E27FC236}">
                    <a16:creationId xmlns:a16="http://schemas.microsoft.com/office/drawing/2014/main" id="{9B35B31F-1D40-BA67-6EDA-25E4282AB3D0}"/>
                  </a:ext>
                </a:extLst>
              </p:cNvPr>
              <p:cNvSpPr/>
              <p:nvPr/>
            </p:nvSpPr>
            <p:spPr>
              <a:xfrm>
                <a:off x="6794259" y="6490098"/>
                <a:ext cx="150954" cy="15095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1"/>
              </a:solidFill>
              <a:ln w="6350" cap="flat" cmpd="sng" algn="ctr">
                <a:solidFill>
                  <a:srgbClr val="000000"/>
                </a:solidFill>
                <a:prstDash val="solid"/>
                <a:headEnd type="none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F65246E-8967-9D51-1FF0-8697985583E3}"/>
                  </a:ext>
                </a:extLst>
              </p:cNvPr>
              <p:cNvSpPr txBox="1"/>
              <p:nvPr/>
            </p:nvSpPr>
            <p:spPr>
              <a:xfrm>
                <a:off x="6965362" y="6459944"/>
                <a:ext cx="443013" cy="211219"/>
              </a:xfrm>
              <a:prstGeom prst="rect">
                <a:avLst/>
              </a:prstGeom>
              <a:noFill/>
            </p:spPr>
            <p:txBody>
              <a:bodyPr wrap="none" lIns="36008" tIns="36008" rIns="36008" bIns="36008" rtlCol="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raphik" panose="020B0503030202060203" pitchFamily="34" charset="0"/>
                    <a:ea typeface="+mn-ea"/>
                    <a:cs typeface="Arial" charset="0"/>
                  </a:rPr>
                  <a:t>Parcial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AED1166-6102-B9C9-9D0E-4337057C1550}"/>
                </a:ext>
              </a:extLst>
            </p:cNvPr>
            <p:cNvGrpSpPr/>
            <p:nvPr/>
          </p:nvGrpSpPr>
          <p:grpSpPr>
            <a:xfrm>
              <a:off x="5223764" y="2115571"/>
              <a:ext cx="999527" cy="211219"/>
              <a:chOff x="7726451" y="6459944"/>
              <a:chExt cx="999527" cy="211219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2C9AF21D-22D4-3844-F91E-B9267DCCDBD2}"/>
                  </a:ext>
                </a:extLst>
              </p:cNvPr>
              <p:cNvSpPr/>
              <p:nvPr/>
            </p:nvSpPr>
            <p:spPr bwMode="gray">
              <a:xfrm>
                <a:off x="7726451" y="6490098"/>
                <a:ext cx="150954" cy="150954"/>
              </a:xfrm>
              <a:prstGeom prst="ellipse">
                <a:avLst/>
              </a:prstGeom>
              <a:solidFill>
                <a:srgbClr val="FFFFFF"/>
              </a:solidFill>
              <a:ln w="6350" cmpd="sng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72017" tIns="72017" rIns="72017" bIns="72017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583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4C61267-1A01-E5AC-093C-7F362D4662E7}"/>
                  </a:ext>
                </a:extLst>
              </p:cNvPr>
              <p:cNvSpPr txBox="1"/>
              <p:nvPr/>
            </p:nvSpPr>
            <p:spPr>
              <a:xfrm>
                <a:off x="7877405" y="6459944"/>
                <a:ext cx="848573" cy="211219"/>
              </a:xfrm>
              <a:prstGeom prst="rect">
                <a:avLst/>
              </a:prstGeom>
              <a:noFill/>
            </p:spPr>
            <p:txBody>
              <a:bodyPr wrap="none" lIns="36008" tIns="36008" rIns="36008" bIns="36008" rtlCol="0" anchor="ctr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raphik" panose="020B0503030202060203" pitchFamily="34" charset="0"/>
                    <a:ea typeface="+mn-ea"/>
                    <a:cs typeface="Arial" charset="0"/>
                  </a:rPr>
                  <a:t>Sob Demanda</a:t>
                </a:r>
              </a:p>
            </p:txBody>
          </p:sp>
        </p:grpSp>
      </p:grpSp>
      <p:sp>
        <p:nvSpPr>
          <p:cNvPr id="21" name="Rectangle 5">
            <a:extLst>
              <a:ext uri="{FF2B5EF4-FFF2-40B4-BE49-F238E27FC236}">
                <a16:creationId xmlns:a16="http://schemas.microsoft.com/office/drawing/2014/main" id="{3B472F63-7671-E347-98F4-24B1A7422AA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0998" y="2581854"/>
            <a:ext cx="2124000" cy="576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mitê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Executivo</a:t>
            </a: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CB5D16B3-97CF-ABE7-9D5E-E998790121A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0998" y="4979729"/>
            <a:ext cx="2123996" cy="9628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Equipe Accenture</a:t>
            </a:r>
          </a:p>
        </p:txBody>
      </p:sp>
      <p:cxnSp>
        <p:nvCxnSpPr>
          <p:cNvPr id="23" name="AutoShape 6">
            <a:extLst>
              <a:ext uri="{FF2B5EF4-FFF2-40B4-BE49-F238E27FC236}">
                <a16:creationId xmlns:a16="http://schemas.microsoft.com/office/drawing/2014/main" id="{F700A7B7-A934-42BD-B148-A197BCF90D40}"/>
              </a:ext>
            </a:extLst>
          </p:cNvPr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1442998" y="3157854"/>
            <a:ext cx="0" cy="1821876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4" name="Rectangle 5">
            <a:extLst>
              <a:ext uri="{FF2B5EF4-FFF2-40B4-BE49-F238E27FC236}">
                <a16:creationId xmlns:a16="http://schemas.microsoft.com/office/drawing/2014/main" id="{4373EDDE-5452-44A1-B2DF-8622636D211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66944" y="3330138"/>
            <a:ext cx="1177961" cy="585652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Especialistas Accenture</a:t>
            </a:r>
          </a:p>
        </p:txBody>
      </p:sp>
      <p:cxnSp>
        <p:nvCxnSpPr>
          <p:cNvPr id="25" name="Elbow Connector 133">
            <a:extLst>
              <a:ext uri="{FF2B5EF4-FFF2-40B4-BE49-F238E27FC236}">
                <a16:creationId xmlns:a16="http://schemas.microsoft.com/office/drawing/2014/main" id="{A244461B-97B7-E4D9-E9DF-A6508FD69BF6}"/>
              </a:ext>
            </a:extLst>
          </p:cNvPr>
          <p:cNvCxnSpPr>
            <a:cxnSpLocks/>
            <a:stCxn id="21" idx="2"/>
            <a:endCxn id="24" idx="1"/>
          </p:cNvCxnSpPr>
          <p:nvPr/>
        </p:nvCxnSpPr>
        <p:spPr>
          <a:xfrm rot="16200000" flipH="1">
            <a:off x="1822416" y="2778436"/>
            <a:ext cx="465110" cy="1223946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6" name="Rectangle 16">
            <a:extLst>
              <a:ext uri="{FF2B5EF4-FFF2-40B4-BE49-F238E27FC236}">
                <a16:creationId xmlns:a16="http://schemas.microsoft.com/office/drawing/2014/main" id="{07414F57-3717-D76B-8DE1-0D635BB258E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63000" y="2581854"/>
            <a:ext cx="2448000" cy="51296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5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Tomar decisões de alto nível </a:t>
            </a:r>
          </a:p>
          <a:p>
            <a:pPr marL="144000" marR="0" lvl="0" indent="-144000" algn="l" defTabSz="9145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Aprovação de impacto e resultados</a:t>
            </a:r>
          </a:p>
          <a:p>
            <a:pPr marL="144000" marR="0" lvl="0" indent="-144000" algn="l" defTabSz="9145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Decisão de natureza estratégica</a:t>
            </a:r>
          </a:p>
        </p:txBody>
      </p:sp>
      <p:sp>
        <p:nvSpPr>
          <p:cNvPr id="27" name="Line 14">
            <a:extLst>
              <a:ext uri="{FF2B5EF4-FFF2-40B4-BE49-F238E27FC236}">
                <a16:creationId xmlns:a16="http://schemas.microsoft.com/office/drawing/2014/main" id="{AB698144-431D-91F4-3D1C-EDFFFC07D25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55806" y="3243996"/>
            <a:ext cx="5255194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8" name="Line 14">
            <a:extLst>
              <a:ext uri="{FF2B5EF4-FFF2-40B4-BE49-F238E27FC236}">
                <a16:creationId xmlns:a16="http://schemas.microsoft.com/office/drawing/2014/main" id="{18FE0BD8-11D7-CC46-134E-5B4D1D09B38C}"/>
              </a:ext>
            </a:extLst>
          </p:cNvPr>
          <p:cNvSpPr>
            <a:spLocks noChangeShapeType="1"/>
          </p:cNvSpPr>
          <p:nvPr/>
        </p:nvSpPr>
        <p:spPr bwMode="auto">
          <a:xfrm>
            <a:off x="6555806" y="4854658"/>
            <a:ext cx="5255194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9" name="Rectangle 16">
            <a:extLst>
              <a:ext uri="{FF2B5EF4-FFF2-40B4-BE49-F238E27FC236}">
                <a16:creationId xmlns:a16="http://schemas.microsoft.com/office/drawing/2014/main" id="{8092B95B-846D-4AFC-F61F-16321C637BF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55805" y="2581854"/>
            <a:ext cx="2448000" cy="487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5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Direcionamento estratégico</a:t>
            </a:r>
          </a:p>
          <a:p>
            <a:pPr marL="144000" marR="0" lvl="0" indent="-144000" algn="l" defTabSz="9145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000" dirty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esponsável pelas tomadas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 de decisão</a:t>
            </a:r>
          </a:p>
        </p:txBody>
      </p:sp>
      <p:sp>
        <p:nvSpPr>
          <p:cNvPr id="30" name="Rectangle 16">
            <a:extLst>
              <a:ext uri="{FF2B5EF4-FFF2-40B4-BE49-F238E27FC236}">
                <a16:creationId xmlns:a16="http://schemas.microsoft.com/office/drawing/2014/main" id="{B95DDD03-C2AC-74E0-8A8F-0A790ED9FF3D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363000" y="3408509"/>
            <a:ext cx="2448000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Trazer conhecimentos / provocações e discutir hipóteses de atuação em fóruns executivos</a:t>
            </a:r>
          </a:p>
        </p:txBody>
      </p:sp>
      <p:sp>
        <p:nvSpPr>
          <p:cNvPr id="31" name="Rectangle 16">
            <a:extLst>
              <a:ext uri="{FF2B5EF4-FFF2-40B4-BE49-F238E27FC236}">
                <a16:creationId xmlns:a16="http://schemas.microsoft.com/office/drawing/2014/main" id="{E1970817-20A2-6078-D49B-97744268CEC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363000" y="5101962"/>
            <a:ext cx="2448000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onduzir os trabalhos previstos no dia-a-dia do projeto</a:t>
            </a:r>
          </a:p>
        </p:txBody>
      </p:sp>
      <p:sp>
        <p:nvSpPr>
          <p:cNvPr id="32" name="Rectangle 16">
            <a:extLst>
              <a:ext uri="{FF2B5EF4-FFF2-40B4-BE49-F238E27FC236}">
                <a16:creationId xmlns:a16="http://schemas.microsoft.com/office/drawing/2014/main" id="{BE09F106-ECF1-E2A6-C66C-A6D1A5F29E9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55805" y="5101962"/>
            <a:ext cx="2448000" cy="6155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000" dirty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rticipar ativamente nas discussões do projeto aportando conhecimento de negócio e do ambiente tecnológico do banco</a:t>
            </a: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7FC46F6E-63DE-98FC-E121-CB81D9034AA2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006925" y="2086553"/>
            <a:ext cx="1160151" cy="317661"/>
          </a:xfrm>
          <a:prstGeom prst="rect">
            <a:avLst/>
          </a:prstGeom>
        </p:spPr>
      </p:pic>
      <p:sp>
        <p:nvSpPr>
          <p:cNvPr id="34" name="Line 14">
            <a:extLst>
              <a:ext uri="{FF2B5EF4-FFF2-40B4-BE49-F238E27FC236}">
                <a16:creationId xmlns:a16="http://schemas.microsoft.com/office/drawing/2014/main" id="{78A3981B-CB5C-192A-CE5F-9DDEEF5AE25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55806" y="4034687"/>
            <a:ext cx="5255194" cy="0"/>
          </a:xfrm>
          <a:prstGeom prst="line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5" name="Rectangle 16">
            <a:extLst>
              <a:ext uri="{FF2B5EF4-FFF2-40B4-BE49-F238E27FC236}">
                <a16:creationId xmlns:a16="http://schemas.microsoft.com/office/drawing/2014/main" id="{F670DA37-64E3-0903-0BAF-7D4E2FB0EC3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363000" y="4194604"/>
            <a:ext cx="2448000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Liderança técnica no dia-a-dia do projeto</a:t>
            </a:r>
          </a:p>
        </p:txBody>
      </p:sp>
      <p:sp>
        <p:nvSpPr>
          <p:cNvPr id="36" name="Rectangle 16">
            <a:extLst>
              <a:ext uri="{FF2B5EF4-FFF2-40B4-BE49-F238E27FC236}">
                <a16:creationId xmlns:a16="http://schemas.microsoft.com/office/drawing/2014/main" id="{16A9C9C5-964A-CB30-B248-031A9ED779AD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555805" y="4117660"/>
            <a:ext cx="2448000" cy="66684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Acompanhamento do dia-a-dia </a:t>
            </a:r>
          </a:p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Validação de entregáveis do projeto</a:t>
            </a:r>
          </a:p>
          <a:p>
            <a:pPr marL="144000" marR="0" lvl="0" indent="-144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000" dirty="0">
                <a:solidFill>
                  <a:srgbClr val="00000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acilitar a interação e direcionamento dos pontos focais</a:t>
            </a: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537D5758-BB0B-358F-86C9-9F2FCD68753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80998" y="4120672"/>
            <a:ext cx="2124000" cy="648000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Gestão do Projeto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776F21A-4F86-35B3-BCCD-40A5950E63CA}"/>
              </a:ext>
            </a:extLst>
          </p:cNvPr>
          <p:cNvGrpSpPr/>
          <p:nvPr/>
        </p:nvGrpSpPr>
        <p:grpSpPr>
          <a:xfrm>
            <a:off x="380998" y="1638837"/>
            <a:ext cx="5940000" cy="268180"/>
            <a:chOff x="380999" y="1993581"/>
            <a:chExt cx="7092000" cy="324498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BC7BA69-150A-C18A-A060-98BA53F360D4}"/>
                </a:ext>
              </a:extLst>
            </p:cNvPr>
            <p:cNvCxnSpPr>
              <a:cxnSpLocks/>
            </p:cNvCxnSpPr>
            <p:nvPr/>
          </p:nvCxnSpPr>
          <p:spPr>
            <a:xfrm>
              <a:off x="380999" y="2318079"/>
              <a:ext cx="7092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ECEB665-EBFE-C853-B0E9-7DB7109CED7C}"/>
                </a:ext>
              </a:extLst>
            </p:cNvPr>
            <p:cNvSpPr txBox="1"/>
            <p:nvPr/>
          </p:nvSpPr>
          <p:spPr>
            <a:xfrm>
              <a:off x="380999" y="1993581"/>
              <a:ext cx="7092000" cy="293721"/>
            </a:xfrm>
            <a:prstGeom prst="rect">
              <a:avLst/>
            </a:prstGeom>
            <a:noFill/>
          </p:spPr>
          <p:txBody>
            <a:bodyPr wrap="square" lIns="0" tIns="0" rIns="0" bIns="108000" rtlCol="0" anchor="t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pt-BR" sz="1200" dirty="0">
                  <a:latin typeface="+mj-lt"/>
                </a:rPr>
                <a:t>Time de Projeto e Dedicações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A16B6DA-234D-0766-6827-9BED8AEF811A}"/>
              </a:ext>
            </a:extLst>
          </p:cNvPr>
          <p:cNvGrpSpPr/>
          <p:nvPr/>
        </p:nvGrpSpPr>
        <p:grpSpPr>
          <a:xfrm>
            <a:off x="2803650" y="2916038"/>
            <a:ext cx="2382554" cy="184666"/>
            <a:chOff x="2882461" y="2946518"/>
            <a:chExt cx="2382554" cy="184666"/>
          </a:xfrm>
        </p:grpSpPr>
        <p:sp>
          <p:nvSpPr>
            <p:cNvPr id="42" name="Rectangle 21">
              <a:extLst>
                <a:ext uri="{FF2B5EF4-FFF2-40B4-BE49-F238E27FC236}">
                  <a16:creationId xmlns:a16="http://schemas.microsoft.com/office/drawing/2014/main" id="{88813518-5E94-F507-335C-44F5996C4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9015" y="2946518"/>
              <a:ext cx="2376000" cy="18466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216000" marR="0" lvl="0" indent="-17624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Executivos Accenture</a:t>
              </a:r>
            </a:p>
          </p:txBody>
        </p:sp>
        <p:sp>
          <p:nvSpPr>
            <p:cNvPr id="43" name="Arc 42">
              <a:extLst>
                <a:ext uri="{FF2B5EF4-FFF2-40B4-BE49-F238E27FC236}">
                  <a16:creationId xmlns:a16="http://schemas.microsoft.com/office/drawing/2014/main" id="{2D4D4B07-D288-E705-EC5F-389A5899DC72}"/>
                </a:ext>
              </a:extLst>
            </p:cNvPr>
            <p:cNvSpPr/>
            <p:nvPr/>
          </p:nvSpPr>
          <p:spPr>
            <a:xfrm>
              <a:off x="2882461" y="2963373"/>
              <a:ext cx="150954" cy="150954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tx1"/>
            </a:solidFill>
            <a:ln w="6350" cap="flat" cmpd="sng" algn="ctr">
              <a:solidFill>
                <a:srgbClr val="000000"/>
              </a:solidFill>
              <a:prstDash val="solid"/>
              <a:headEnd type="none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3D18D39-DE3D-CFA8-94AA-4EE1CF72770B}"/>
              </a:ext>
            </a:extLst>
          </p:cNvPr>
          <p:cNvGrpSpPr/>
          <p:nvPr/>
        </p:nvGrpSpPr>
        <p:grpSpPr>
          <a:xfrm>
            <a:off x="2803650" y="2639004"/>
            <a:ext cx="2382554" cy="184666"/>
            <a:chOff x="2882461" y="2669484"/>
            <a:chExt cx="2382554" cy="184666"/>
          </a:xfrm>
        </p:grpSpPr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25C97D3B-B147-5FD4-31BB-34D031660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9015" y="2669484"/>
              <a:ext cx="2376000" cy="18466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216000" marR="0" lvl="0" indent="-17624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Executivo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&lt;cliente&gt;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C5E65B63-B8F2-91ED-7676-EFEFBB56DF59}"/>
                </a:ext>
              </a:extLst>
            </p:cNvPr>
            <p:cNvSpPr/>
            <p:nvPr/>
          </p:nvSpPr>
          <p:spPr>
            <a:xfrm>
              <a:off x="2882461" y="2686339"/>
              <a:ext cx="150954" cy="150954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err="1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CE2E417-6216-55BF-5573-F3591E20D004}"/>
              </a:ext>
            </a:extLst>
          </p:cNvPr>
          <p:cNvGrpSpPr/>
          <p:nvPr/>
        </p:nvGrpSpPr>
        <p:grpSpPr>
          <a:xfrm>
            <a:off x="2803650" y="4490856"/>
            <a:ext cx="3392954" cy="184666"/>
            <a:chOff x="2882461" y="4518249"/>
            <a:chExt cx="3392954" cy="184666"/>
          </a:xfrm>
        </p:grpSpPr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B964AC8-7FF9-A39C-0E37-842F843B46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9014" y="4518249"/>
              <a:ext cx="3386401" cy="18466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216000" marR="0" lvl="0" indent="-17624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Gerente Sênior de Estratégia Accenture</a:t>
              </a:r>
            </a:p>
          </p:txBody>
        </p:sp>
        <p:sp>
          <p:nvSpPr>
            <p:cNvPr id="49" name="Arc 48">
              <a:extLst>
                <a:ext uri="{FF2B5EF4-FFF2-40B4-BE49-F238E27FC236}">
                  <a16:creationId xmlns:a16="http://schemas.microsoft.com/office/drawing/2014/main" id="{5A9271F3-E93F-38E1-7605-C81B2BB123DF}"/>
                </a:ext>
              </a:extLst>
            </p:cNvPr>
            <p:cNvSpPr/>
            <p:nvPr/>
          </p:nvSpPr>
          <p:spPr>
            <a:xfrm>
              <a:off x="2882461" y="4535104"/>
              <a:ext cx="150954" cy="150954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tx1"/>
            </a:solidFill>
            <a:ln w="6350" cap="flat" cmpd="sng" algn="ctr">
              <a:solidFill>
                <a:srgbClr val="000000"/>
              </a:solidFill>
              <a:prstDash val="solid"/>
              <a:headEnd type="none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C5A00A4-1ECD-9BC6-FCC2-6EFDA96CF393}"/>
              </a:ext>
            </a:extLst>
          </p:cNvPr>
          <p:cNvGrpSpPr/>
          <p:nvPr/>
        </p:nvGrpSpPr>
        <p:grpSpPr>
          <a:xfrm>
            <a:off x="2803650" y="4213822"/>
            <a:ext cx="2382554" cy="184666"/>
            <a:chOff x="2882461" y="4241215"/>
            <a:chExt cx="2382554" cy="184666"/>
          </a:xfrm>
        </p:grpSpPr>
        <p:sp>
          <p:nvSpPr>
            <p:cNvPr id="51" name="Rectangle 21">
              <a:extLst>
                <a:ext uri="{FF2B5EF4-FFF2-40B4-BE49-F238E27FC236}">
                  <a16:creationId xmlns:a16="http://schemas.microsoft.com/office/drawing/2014/main" id="{5B734E6D-4A9C-21DC-7B33-C121C3C75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9015" y="4241215"/>
              <a:ext cx="2376000" cy="18466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216000" marR="0" lvl="0" indent="-176248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Líder do Projeto </a:t>
              </a: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rPr>
                <a:t>&lt;cliente&gt;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6DD20105-1918-608F-41D3-4FB6ABCE44D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82461" y="4258070"/>
              <a:ext cx="150954" cy="150954"/>
              <a:chOff x="2882461" y="4258070"/>
              <a:chExt cx="150954" cy="150954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6F7D4CFE-71C6-864A-088F-B13AA521B848}"/>
                  </a:ext>
                </a:extLst>
              </p:cNvPr>
              <p:cNvSpPr/>
              <p:nvPr/>
            </p:nvSpPr>
            <p:spPr>
              <a:xfrm>
                <a:off x="2882461" y="4258070"/>
                <a:ext cx="150954" cy="150954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err="1"/>
              </a:p>
            </p:txBody>
          </p:sp>
          <p:sp>
            <p:nvSpPr>
              <p:cNvPr id="54" name="Arc 53">
                <a:extLst>
                  <a:ext uri="{FF2B5EF4-FFF2-40B4-BE49-F238E27FC236}">
                    <a16:creationId xmlns:a16="http://schemas.microsoft.com/office/drawing/2014/main" id="{329536E4-192D-F02F-69B4-72FCE3AFCD5A}"/>
                  </a:ext>
                </a:extLst>
              </p:cNvPr>
              <p:cNvSpPr/>
              <p:nvPr/>
            </p:nvSpPr>
            <p:spPr>
              <a:xfrm>
                <a:off x="2882461" y="4258070"/>
                <a:ext cx="150954" cy="15095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1"/>
              </a:solidFill>
              <a:ln w="6350">
                <a:solidFill>
                  <a:schemeClr val="tx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5" name="Rectangle 21">
            <a:extLst>
              <a:ext uri="{FF2B5EF4-FFF2-40B4-BE49-F238E27FC236}">
                <a16:creationId xmlns:a16="http://schemas.microsoft.com/office/drawing/2014/main" id="{45C97B02-079F-FEA8-8E72-CCF98355C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4998" y="3330138"/>
            <a:ext cx="2376000" cy="48474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216000" marR="0" lvl="0" indent="-17624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charset="0"/>
              </a:rPr>
              <a:t>Especialistas em:</a:t>
            </a:r>
          </a:p>
          <a:p>
            <a:pPr marL="396000" lvl="1" indent="-144000" fontAlgn="base">
              <a:spcBef>
                <a:spcPct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highlight>
                  <a:srgbClr val="FFFF00"/>
                </a:highlight>
                <a:uLnTx/>
                <a:uFillTx/>
                <a:latin typeface="Graphik" panose="020B0503030202060203" pitchFamily="34" charset="0"/>
                <a:ea typeface="+mn-ea"/>
                <a:cs typeface="Arial" charset="0"/>
              </a:rPr>
              <a:t>Banking</a:t>
            </a:r>
          </a:p>
          <a:p>
            <a:pPr marL="396000" lvl="1" indent="-144000" fontAlgn="base">
              <a:spcBef>
                <a:spcPct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Graphik" panose="020B0503030202060203" pitchFamily="34" charset="0"/>
                <a:cs typeface="Arial" charset="0"/>
              </a:rPr>
              <a:t>Cyber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610C602-3686-6673-A25C-BA61BE467527}"/>
              </a:ext>
            </a:extLst>
          </p:cNvPr>
          <p:cNvSpPr/>
          <p:nvPr/>
        </p:nvSpPr>
        <p:spPr>
          <a:xfrm>
            <a:off x="3938444" y="3346993"/>
            <a:ext cx="150954" cy="150954"/>
          </a:xfrm>
          <a:prstGeom prst="ellipse">
            <a:avLst/>
          </a:prstGeom>
          <a:solidFill>
            <a:schemeClr val="bg1"/>
          </a:solidFill>
          <a:ln w="6350" cmpd="sng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pt-BR" dirty="0"/>
          </a:p>
        </p:txBody>
      </p:sp>
      <p:sp>
        <p:nvSpPr>
          <p:cNvPr id="57" name="Rectangle 21">
            <a:extLst>
              <a:ext uri="{FF2B5EF4-FFF2-40B4-BE49-F238E27FC236}">
                <a16:creationId xmlns:a16="http://schemas.microsoft.com/office/drawing/2014/main" id="{3C9934BD-7779-8CF5-641F-F392722AC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203" y="5155882"/>
            <a:ext cx="3386401" cy="4462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216000" marR="0" lvl="0" indent="-17624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charset="0"/>
              </a:rPr>
              <a:t>Gerente de Cyber Accenture</a:t>
            </a:r>
          </a:p>
          <a:p>
            <a:pPr marL="216000" marR="0" lvl="0" indent="-17624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000000"/>
                </a:solidFill>
                <a:latin typeface="Graphik" panose="020B0503030202060203" pitchFamily="34" charset="0"/>
                <a:cs typeface="Arial" charset="0"/>
              </a:rPr>
              <a:t>2 Consultores de Estratégia Accenture</a:t>
            </a:r>
          </a:p>
        </p:txBody>
      </p:sp>
      <p:sp>
        <p:nvSpPr>
          <p:cNvPr id="58" name="Arc 57">
            <a:extLst>
              <a:ext uri="{FF2B5EF4-FFF2-40B4-BE49-F238E27FC236}">
                <a16:creationId xmlns:a16="http://schemas.microsoft.com/office/drawing/2014/main" id="{78DF3E44-C8FB-D70A-7098-B2917A286E28}"/>
              </a:ext>
            </a:extLst>
          </p:cNvPr>
          <p:cNvSpPr/>
          <p:nvPr/>
        </p:nvSpPr>
        <p:spPr>
          <a:xfrm>
            <a:off x="2803650" y="5172737"/>
            <a:ext cx="150954" cy="150954"/>
          </a:xfrm>
          <a:prstGeom prst="arc">
            <a:avLst>
              <a:gd name="adj1" fmla="val 16200000"/>
              <a:gd name="adj2" fmla="val 16200000"/>
            </a:avLst>
          </a:prstGeom>
          <a:solidFill>
            <a:schemeClr val="tx1"/>
          </a:solidFill>
          <a:ln w="6350" cap="flat" cmpd="sng" algn="ctr">
            <a:solidFill>
              <a:srgbClr val="000000"/>
            </a:solidFill>
            <a:prstDash val="solid"/>
            <a:headEnd type="none"/>
            <a:tailEnd type="none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73FED30B-866B-F221-21C6-D7B0EAACE700}"/>
              </a:ext>
            </a:extLst>
          </p:cNvPr>
          <p:cNvSpPr/>
          <p:nvPr/>
        </p:nvSpPr>
        <p:spPr>
          <a:xfrm>
            <a:off x="2803650" y="5436129"/>
            <a:ext cx="150954" cy="150954"/>
          </a:xfrm>
          <a:prstGeom prst="arc">
            <a:avLst>
              <a:gd name="adj1" fmla="val 16200000"/>
              <a:gd name="adj2" fmla="val 16200000"/>
            </a:avLst>
          </a:prstGeom>
          <a:solidFill>
            <a:schemeClr val="tx1"/>
          </a:solidFill>
          <a:ln w="6350" cap="flat" cmpd="sng" algn="ctr">
            <a:solidFill>
              <a:srgbClr val="000000"/>
            </a:solidFill>
            <a:prstDash val="solid"/>
            <a:headEnd type="none"/>
            <a:tailEnd type="none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657D2D1-16FB-4D78-B5DF-846615B3990B}"/>
              </a:ext>
            </a:extLst>
          </p:cNvPr>
          <p:cNvSpPr/>
          <p:nvPr/>
        </p:nvSpPr>
        <p:spPr>
          <a:xfrm>
            <a:off x="7001477" y="2115245"/>
            <a:ext cx="1556657" cy="35803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&lt;Logo cliente&gt;</a:t>
            </a:r>
          </a:p>
        </p:txBody>
      </p:sp>
    </p:spTree>
    <p:extLst>
      <p:ext uri="{BB962C8B-B14F-4D97-AF65-F5344CB8AC3E}">
        <p14:creationId xmlns:p14="http://schemas.microsoft.com/office/powerpoint/2010/main" val="2582499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Vadl17EyyoFteVeJ.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SkSKeWNEa7zSnB14a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3xxiWgLUK.G61f.rbD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SkSKeWNEa7zSnB14a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SkSKeWNEa7zSnB14ab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SkSKeWNEa7zSnB14abNw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156</Words>
  <Application>Microsoft Office PowerPoint</Application>
  <PresentationFormat>Widescreen</PresentationFormat>
  <Paragraphs>3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4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